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9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EFF1AE6-BA08-45BA-9809-18D92D04DB2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éduisez les coûts de maintenance et les temps d'arrêt des machines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2914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imiteur de couple sur roue de sortie</a:t>
            </a:r>
            <a:endParaRPr 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d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: remplisseuses aseptique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SP001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En empêchant la transmission de surcouple, le nouveau système réduit les risques de réparations et d'arrêts machine coûteux liés à des surcharges. Cette solution peut également réduire de </a:t>
                      </a:r>
                      <a:r>
                        <a:rPr lang="fr-FR" altLang="de-DE" sz="1200" b="1" noProof="1">
                          <a:solidFill>
                            <a:srgbClr val="E64B00"/>
                          </a:solidFill>
                          <a:latin typeface="+mn-lt"/>
                        </a:rPr>
                        <a:t>90 %</a:t>
                      </a:r>
                      <a:r>
                        <a:rPr lang="fr-FR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 l'énergie destructive accumulée dans le système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Aucun besoin de maintenance au niveau de l'accouplement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Les accouplements de sécurité augmentent l'efficacité et la productivité de l'équipement.</a:t>
                      </a:r>
                      <a:endParaRPr lang="fr-FR" altLang="de-DE" sz="1200" b="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solution actuelle sans limiteur de couple peut entraîner des réparations coûteuses et des temps d'arrêts machine en raison de surcharges 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nouvelle solution est équipée d'une nouvelle commande dotée d'un limiteur de couple et d'un axe plus long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" t="29141" r="1955" b="10414"/>
          <a:stretch/>
        </p:blipFill>
        <p:spPr bwMode="auto">
          <a:xfrm>
            <a:off x="4901272" y="4246719"/>
            <a:ext cx="3627077" cy="1378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2E205555-435C-47A3-A501-B3FAC76ADF11}"/>
              </a:ext>
            </a:extLst>
          </p:cNvPr>
          <p:cNvSpPr/>
          <p:nvPr/>
        </p:nvSpPr>
        <p:spPr>
          <a:xfrm>
            <a:off x="4772254" y="1735765"/>
            <a:ext cx="3877456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780566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3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éduisez les coûts de maintenance et les temps d'arrêt des machine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0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08:57.234472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